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48" r:id="rId1"/>
  </p:sldMasterIdLst>
  <p:notesMasterIdLst>
    <p:notesMasterId r:id="rId7"/>
  </p:notesMasterIdLst>
  <p:sldIdLst>
    <p:sldId id="256" r:id="rId2"/>
    <p:sldId id="258" r:id="rId3"/>
    <p:sldId id="259" r:id="rId4"/>
    <p:sldId id="261" r:id="rId5"/>
    <p:sldId id="262" r:id="rId6"/>
  </p:sldIdLst>
  <p:sldSz cx="12192000" cy="6858000"/>
  <p:notesSz cx="6858000" cy="9144000"/>
  <p:custDataLst>
    <p:tags r:id="rId8"/>
  </p:custDataLst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013" autoAdjust="0"/>
    <p:restoredTop sz="99878" autoAdjust="0"/>
  </p:normalViewPr>
  <p:slideViewPr>
    <p:cSldViewPr snapToGrid="0">
      <p:cViewPr>
        <p:scale>
          <a:sx n="100" d="100"/>
          <a:sy n="100" d="100"/>
        </p:scale>
        <p:origin x="-126" y="-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03A82E5A-15D9-4CF8-B84E-9419C4E5E30D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4" name="מציין מיקום של תמונת שקופית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מציין מיקום של הערות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4"/>
          </p:nvPr>
        </p:nvSpPr>
        <p:spPr>
          <a:xfrm>
            <a:off x="38862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5"/>
          </p:nvPr>
        </p:nvSpPr>
        <p:spPr>
          <a:xfrm>
            <a:off x="1588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A9C38915-8A9B-4FD7-BA1E-CA08AC2D763C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826211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7014363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47381333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19995884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63000605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80339697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19334749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51094865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66215345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35588115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9216869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76863424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519452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41971" y="795437"/>
            <a:ext cx="5870317" cy="175432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6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כנס משרדי תכנון 2021</a:t>
            </a:r>
          </a:p>
          <a:p>
            <a:pPr algn="ctr"/>
            <a:r>
              <a:rPr lang="he-IL" sz="36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הנדס מים וביוב ראשי </a:t>
            </a:r>
          </a:p>
          <a:p>
            <a:pPr algn="ctr"/>
            <a:r>
              <a:rPr lang="he-IL" sz="36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נחיות תכנון </a:t>
            </a:r>
            <a:endParaRPr lang="en-US" sz="3600" b="1" kern="0">
              <a:solidFill>
                <a:schemeClr val="accent1">
                  <a:lumMod val="50000"/>
                </a:schemeClr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38175" y="6283456"/>
            <a:ext cx="2009774" cy="24622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defTabSz="894970" rtl="0">
              <a:defRPr/>
            </a:pPr>
            <a:r>
              <a:rPr lang="he-IL" sz="1600" b="1" kern="0">
                <a:solidFill>
                  <a:srgbClr val="002960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נף הנדסה, יולי 2021</a:t>
            </a:r>
            <a:endParaRPr lang="en-GB" sz="1600" b="1" kern="0">
              <a:solidFill>
                <a:srgbClr val="002960"/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50366347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74556" y="312326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 defTabSz="894970" rtl="0">
              <a:defRPr/>
            </a:pPr>
            <a:r>
              <a:rPr lang="he-IL" sz="28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כללי</a:t>
            </a:r>
            <a:endParaRPr lang="en-GB" sz="2800" b="1" kern="0">
              <a:solidFill>
                <a:schemeClr val="accent1">
                  <a:lumMod val="50000"/>
                </a:schemeClr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sp>
        <p:nvSpPr>
          <p:cNvPr id="4" name="מלבן 3"/>
          <p:cNvSpPr/>
          <p:nvPr/>
        </p:nvSpPr>
        <p:spPr>
          <a:xfrm>
            <a:off x="2144121" y="1169285"/>
            <a:ext cx="9257304" cy="6188183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דרישות / הנחיות מהנדס מים וביוב ראשי לתכנון מערכות מים וביוב עבור מחנות / מתקני צה''ל פורטו בנוהלים אגפיים :</a:t>
            </a:r>
          </a:p>
          <a:p>
            <a:pPr>
              <a:lnSpc>
                <a:spcPct val="200000"/>
              </a:lnSpc>
            </a:pP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           002.005 מתקני תברואה </a:t>
            </a:r>
          </a:p>
          <a:p>
            <a:pPr>
              <a:lnSpc>
                <a:spcPct val="200000"/>
              </a:lnSpc>
            </a:pP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           002.047 תשתיות מים וביוב במחנות ומתקני צה''ל </a:t>
            </a:r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בנוסף לכך קיימים נוהלים שמפרטים דרישות למערכות מים וביוב עבור מתקנים ייעודיים כגון מטבח , מרט''פ וחו' </a:t>
            </a:r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חובה לציין שקיים נוהל המתייחס לתכנון מערכות מים וביוב עבור מתקנים אסטרטגיים עם דרישות לרציפות התפקוד </a:t>
            </a:r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he-IL"/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he-IL"/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51819106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703712" y="328526"/>
            <a:ext cx="6204430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 defTabSz="894970">
              <a:defRPr/>
            </a:pPr>
            <a:r>
              <a:rPr lang="he-IL" sz="28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בקרה הנדסית </a:t>
            </a:r>
            <a:endParaRPr lang="en-GB" sz="2800" b="1" kern="0">
              <a:solidFill>
                <a:schemeClr val="accent1">
                  <a:lumMod val="50000"/>
                </a:schemeClr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sp>
        <p:nvSpPr>
          <p:cNvPr id="5" name="מלבן 4"/>
          <p:cNvSpPr/>
          <p:nvPr/>
        </p:nvSpPr>
        <p:spPr>
          <a:xfrm>
            <a:off x="2229846" y="1169285"/>
            <a:ext cx="8371479" cy="6188183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סמכי תכנון מוצגים לבקרה הנדסית של מהנדס מים וביוב ראשי בהגשה אישית </a:t>
            </a:r>
            <a:r>
              <a:rPr lang="he-IL" dirty="0" err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''י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</a:t>
            </a:r>
            <a:r>
              <a:rPr lang="he-IL" b="1" u="sng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נהל הפרויקט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ובליווי המתכנן.</a:t>
            </a:r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נתוני פרויקט שתדרשו להציג בתחילת הפגישה :</a:t>
            </a:r>
          </a:p>
          <a:p>
            <a:pPr>
              <a:lnSpc>
                <a:spcPct val="200000"/>
              </a:lnSpc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      - שם הפרויקט </a:t>
            </a:r>
          </a:p>
          <a:p>
            <a:pPr>
              <a:lnSpc>
                <a:spcPct val="200000"/>
              </a:lnSpc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      - מספר פרויקט </a:t>
            </a:r>
          </a:p>
          <a:p>
            <a:pPr>
              <a:lnSpc>
                <a:spcPct val="200000"/>
              </a:lnSpc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      - שם מנהל הפרויקט </a:t>
            </a:r>
          </a:p>
          <a:p>
            <a:pPr>
              <a:lnSpc>
                <a:spcPct val="200000"/>
              </a:lnSpc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      - שלב תכנון </a:t>
            </a:r>
          </a:p>
          <a:p>
            <a:pPr>
              <a:lnSpc>
                <a:spcPct val="200000"/>
              </a:lnSpc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      - מהדורה </a:t>
            </a:r>
            <a:r>
              <a:rPr lang="he-IL" dirty="0" err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וסה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''כ מספר מהדורות / עדכונים </a:t>
            </a:r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he-IL" dirty="0"/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he-IL" dirty="0"/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71684588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703712" y="328526"/>
            <a:ext cx="6204430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 defTabSz="894970">
              <a:defRPr/>
            </a:pPr>
            <a:r>
              <a:rPr lang="he-IL" sz="28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בקרה הנדסית </a:t>
            </a:r>
            <a:endParaRPr lang="en-GB" sz="2800" b="1" kern="0">
              <a:solidFill>
                <a:schemeClr val="accent1">
                  <a:lumMod val="50000"/>
                </a:schemeClr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sp>
        <p:nvSpPr>
          <p:cNvPr id="5" name="מלבן 4"/>
          <p:cNvSpPr/>
          <p:nvPr/>
        </p:nvSpPr>
        <p:spPr>
          <a:xfrm>
            <a:off x="1423358" y="1350260"/>
            <a:ext cx="9435142" cy="5634185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סמכי חובה שתדרשו להציג לצורך קיום הבקרה שלב תכנון סופי :</a:t>
            </a:r>
          </a:p>
          <a:p>
            <a:pPr>
              <a:lnSpc>
                <a:spcPct val="200000"/>
              </a:lnSpc>
            </a:pP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      - אישור אדריכל ראשי על הקפאת תצורה של מבנה / מחנה / תכנית  האב .</a:t>
            </a:r>
          </a:p>
          <a:p>
            <a:pPr>
              <a:lnSpc>
                <a:spcPct val="200000"/>
              </a:lnSpc>
            </a:pP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      - אישור מהנדס איכות הסביבה ראשי המתייחס להמצאות שפכים תעשייתיים ואופן טיפול בהם </a:t>
            </a:r>
          </a:p>
          <a:p>
            <a:pPr marL="741363" lvl="1" indent="-285750">
              <a:lnSpc>
                <a:spcPct val="200000"/>
              </a:lnSpc>
              <a:buFontTx/>
              <a:buChar char="-"/>
            </a:pP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ישור רע''ן בטיחות אש בצה''ל ( אישור רשות כב''א ) לרבות הגדרה של רמת הסיכון של  המתחם , במבנה , מחנה . יש לוודא קיום התייחסות לצורך לכיבוי על ידי מתזים והגדרה של סה''כ ספיקה הנדרשת .</a:t>
            </a:r>
          </a:p>
          <a:p>
            <a:pPr marL="741363" lvl="1" indent="-285750">
              <a:lnSpc>
                <a:spcPct val="200000"/>
              </a:lnSpc>
              <a:buFontTx/>
              <a:buChar char="-"/>
            </a:pP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סמך תוצאות מדידת אופיין רשת המים וחיבור המים הראשי </a:t>
            </a:r>
          </a:p>
          <a:p>
            <a:pPr marL="741363" lvl="1" indent="-285750">
              <a:lnSpc>
                <a:spcPct val="200000"/>
              </a:lnSpc>
              <a:buFontTx/>
              <a:buChar char="-"/>
            </a:pPr>
            <a:endParaRPr lang="he-IL"/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he-IL"/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05000147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12261" y="218003"/>
            <a:ext cx="6204430" cy="49244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 defTabSz="894970">
              <a:defRPr/>
            </a:pPr>
            <a:r>
              <a:rPr lang="he-IL" sz="28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דגשים</a:t>
            </a:r>
            <a:r>
              <a:rPr lang="he-IL" sz="3200" b="1" kern="0">
                <a:solidFill>
                  <a:srgbClr val="002960"/>
                </a:solidFill>
                <a:latin typeface="Arial"/>
                <a:cs typeface="Arial"/>
              </a:rPr>
              <a:t> </a:t>
            </a:r>
            <a:r>
              <a:rPr lang="he-IL" sz="28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יוחדים</a:t>
            </a:r>
            <a:r>
              <a:rPr lang="he-IL" sz="3200" b="1" kern="0">
                <a:solidFill>
                  <a:srgbClr val="002960"/>
                </a:solidFill>
                <a:latin typeface="Arial"/>
                <a:cs typeface="Arial"/>
              </a:rPr>
              <a:t> </a:t>
            </a:r>
            <a:r>
              <a:rPr lang="he-IL" sz="28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לתכנון</a:t>
            </a:r>
            <a:r>
              <a:rPr lang="he-IL" sz="3200" b="1" kern="0">
                <a:solidFill>
                  <a:srgbClr val="002960"/>
                </a:solidFill>
                <a:latin typeface="Arial"/>
                <a:cs typeface="Arial"/>
              </a:rPr>
              <a:t> </a:t>
            </a:r>
            <a:endParaRPr lang="en-GB" sz="2800" b="1" kern="0">
              <a:solidFill>
                <a:srgbClr val="002960"/>
              </a:solidFill>
              <a:latin typeface="Arial"/>
              <a:cs typeface="Arial"/>
            </a:endParaRPr>
          </a:p>
        </p:txBody>
      </p:sp>
      <p:sp>
        <p:nvSpPr>
          <p:cNvPr id="4" name="מלבן 3"/>
          <p:cNvSpPr/>
          <p:nvPr/>
        </p:nvSpPr>
        <p:spPr>
          <a:xfrm>
            <a:off x="2038351" y="1056063"/>
            <a:ext cx="9448800" cy="4994266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חובה לקבל </a:t>
            </a:r>
            <a:r>
              <a:rPr lang="he-IL" dirty="0" err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יפיון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מבנה / מתחם / מחנה .</a:t>
            </a:r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תכנון חייב להתבסס על נתון של  </a:t>
            </a:r>
            <a:r>
              <a:rPr lang="he-IL" dirty="0" err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סד''כ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מעודכן כולל הערכה </a:t>
            </a:r>
            <a:r>
              <a:rPr lang="he-IL" dirty="0" err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לכ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– 15  שנים קדימה או להוסיף מקדם 20% לנתון .</a:t>
            </a:r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בקביעת תצורת אספקת מים למחנה גדודי ומעלה נדרש  להפריד בין מערכות מים לצריכה שוטפת וכיבוי קונבנציונלי לבין מערכת לכיבוי לא קונבנציונלי / </a:t>
            </a:r>
            <a:r>
              <a:rPr lang="he-IL" dirty="0" err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תזים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.</a:t>
            </a:r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נדרש למנוע סכמה של צירוף מערכת אספקה לברזי כיבוי אש יחד עם </a:t>
            </a:r>
            <a:r>
              <a:rPr lang="he-IL" dirty="0" err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תזים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.</a:t>
            </a:r>
          </a:p>
          <a:p>
            <a:pPr marL="349861" indent="-34986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יש למנוע </a:t>
            </a:r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ככל האפשר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פתרונות אלקטרומכניים לרבות מתקנים לאיגום והגברת לחץ מים . החלטה על התבססות על מתקן לאיגום והגברת לחץ מים דורשת הוכחה .</a:t>
            </a:r>
          </a:p>
          <a:p>
            <a:pPr>
              <a:lnSpc>
                <a:spcPct val="200000"/>
              </a:lnSpc>
            </a:pPr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81559584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20.07.14"/>
  <p:tag name="AS_TITLE" val="Aspose.Slides for .NET 2.0"/>
  <p:tag name="AS_VERSION" val="20.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 panose="020F0502020204030204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0</Words>
  <Application>Microsoft Office PowerPoint</Application>
  <PresentationFormat>מותאם אישית</PresentationFormat>
  <Paragraphs>33</Paragraphs>
  <Slides>5</Slides>
  <Notes>0</Notes>
  <HiddenSlides>0</HiddenSlides>
  <MMClips>0</MMClips>
  <ScaleCrop>false</ScaleCrop>
  <HeadingPairs>
    <vt:vector size="4" baseType="variant">
      <vt:variant>
        <vt:lpstr>ערכת נושא</vt:lpstr>
      </vt:variant>
      <vt:variant>
        <vt:i4>1</vt:i4>
      </vt:variant>
      <vt:variant>
        <vt:lpstr>כותרות שקופיות</vt:lpstr>
      </vt:variant>
      <vt:variant>
        <vt:i4>5</vt:i4>
      </vt:variant>
    </vt:vector>
  </HeadingPairs>
  <TitlesOfParts>
    <vt:vector size="6" baseType="lpstr">
      <vt:lpstr>ערכת נושא Office</vt:lpstr>
      <vt:lpstr>מצגת של PowerPoint</vt:lpstr>
      <vt:lpstr>מצגת של PowerPoint</vt:lpstr>
      <vt:lpstr>מצגת של PowerPoint</vt:lpstr>
      <vt:lpstr>מצגת של PowerPoint</vt:lpstr>
      <vt:lpstr>מצגת של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של PowerPoint</dc:title>
  <dc:creator>Tatiana Zemtsov</dc:creator>
  <cp:lastModifiedBy>Tatiana Zemtsov</cp:lastModifiedBy>
  <cp:revision>3</cp:revision>
  <dcterms:created xsi:type="dcterms:W3CDTF">2020-05-26T07:03:14Z</dcterms:created>
  <dcterms:modified xsi:type="dcterms:W3CDTF">2021-07-22T11:55:55Z</dcterms:modified>
</cp:coreProperties>
</file>